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B0000"/>
    <a:srgbClr val="8D8D8D"/>
    <a:srgbClr val="444444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9E5778C7-6F4A-42E8-93DB-FB64D1E14FA1}"/>
    <pc:docChg chg="modSld">
      <pc:chgData name="Weigel Stefan (PAR-ES)" userId="fd3b2067-2981-4ad8-bf3a-d2e1004e4fa8" providerId="ADAL" clId="{9E5778C7-6F4A-42E8-93DB-FB64D1E14FA1}" dt="2023-01-31T17:57:40.452" v="22"/>
      <pc:docMkLst>
        <pc:docMk/>
      </pc:docMkLst>
      <pc:sldChg chg="modSp mod">
        <pc:chgData name="Weigel Stefan (PAR-ES)" userId="fd3b2067-2981-4ad8-bf3a-d2e1004e4fa8" providerId="ADAL" clId="{9E5778C7-6F4A-42E8-93DB-FB64D1E14FA1}" dt="2023-01-31T17:57:40.452" v="22"/>
        <pc:sldMkLst>
          <pc:docMk/>
          <pc:sldMk cId="2641487227" sldId="271"/>
        </pc:sldMkLst>
        <pc:spChg chg="mod">
          <ac:chgData name="Weigel Stefan (PAR-ES)" userId="fd3b2067-2981-4ad8-bf3a-d2e1004e4fa8" providerId="ADAL" clId="{9E5778C7-6F4A-42E8-93DB-FB64D1E14FA1}" dt="2023-01-25T14:34:12.351" v="1" actId="20577"/>
          <ac:spMkLst>
            <pc:docMk/>
            <pc:sldMk cId="2641487227" sldId="271"/>
            <ac:spMk id="6" creationId="{0148E78D-7FBB-46BC-A7E3-0EFE6D9E4679}"/>
          </ac:spMkLst>
        </pc:spChg>
        <pc:graphicFrameChg chg="mod">
          <ac:chgData name="Weigel Stefan (PAR-ES)" userId="fd3b2067-2981-4ad8-bf3a-d2e1004e4fa8" providerId="ADAL" clId="{9E5778C7-6F4A-42E8-93DB-FB64D1E14FA1}" dt="2023-01-31T17:57:40.452" v="22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8304225-6CDC-4711-A51D-6CA3AE8D6156}"/>
    <pc:docChg chg="custSel delSld modSld">
      <pc:chgData name="Meyer Raphael (PAR-ES)" userId="79615dfe-ed48-4e74-a40f-4f7b034c1c27" providerId="ADAL" clId="{58304225-6CDC-4711-A51D-6CA3AE8D6156}" dt="2022-03-10T10:34:51.819" v="25" actId="47"/>
      <pc:docMkLst>
        <pc:docMk/>
      </pc:docMkLst>
      <pc:sldChg chg="modSp mod">
        <pc:chgData name="Meyer Raphael (PAR-ES)" userId="79615dfe-ed48-4e74-a40f-4f7b034c1c27" providerId="ADAL" clId="{58304225-6CDC-4711-A51D-6CA3AE8D6156}" dt="2022-03-10T10:34:32.286" v="24" actId="27918"/>
        <pc:sldMkLst>
          <pc:docMk/>
          <pc:sldMk cId="2641487227" sldId="271"/>
        </pc:sldMkLst>
        <pc:spChg chg="mod">
          <ac:chgData name="Meyer Raphael (PAR-ES)" userId="79615dfe-ed48-4e74-a40f-4f7b034c1c27" providerId="ADAL" clId="{58304225-6CDC-4711-A51D-6CA3AE8D6156}" dt="2022-03-10T10:29:39.861" v="0"/>
          <ac:spMkLst>
            <pc:docMk/>
            <pc:sldMk cId="264148722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8304225-6CDC-4711-A51D-6CA3AE8D6156}" dt="2022-03-10T10:29:51.878" v="5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58304225-6CDC-4711-A51D-6CA3AE8D6156}" dt="2022-03-10T10:30:20.237" v="13" actId="20577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58304225-6CDC-4711-A51D-6CA3AE8D6156}" dt="2022-03-10T10:30:13.410" v="7" actId="20577"/>
          <ac:spMkLst>
            <pc:docMk/>
            <pc:sldMk cId="2641487227" sldId="271"/>
            <ac:spMk id="10" creationId="{41B9B9AB-4B12-4760-AF37-4FABDDFAE68B}"/>
          </ac:spMkLst>
        </pc:spChg>
      </pc:sldChg>
      <pc:sldChg chg="del">
        <pc:chgData name="Meyer Raphael (PAR-ES)" userId="79615dfe-ed48-4e74-a40f-4f7b034c1c27" providerId="ADAL" clId="{58304225-6CDC-4711-A51D-6CA3AE8D6156}" dt="2022-03-10T10:34:51.819" v="25" actId="47"/>
        <pc:sldMkLst>
          <pc:docMk/>
          <pc:sldMk cId="1963209825" sldId="272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787CFAB-6DCF-48A9-8F3C-44D2D2E33AD5}"/>
    <pc:docChg chg="delSld">
      <pc:chgData name="Meyer Raphael (PAR-ES)" userId="79615dfe-ed48-4e74-a40f-4f7b034c1c27" providerId="ADAL" clId="{4787CFAB-6DCF-48A9-8F3C-44D2D2E33AD5}" dt="2021-11-08T11:26:49.223" v="1" actId="47"/>
      <pc:docMkLst>
        <pc:docMk/>
      </pc:docMkLst>
      <pc:sldChg chg="del">
        <pc:chgData name="Meyer Raphael (PAR-ES)" userId="79615dfe-ed48-4e74-a40f-4f7b034c1c27" providerId="ADAL" clId="{4787CFAB-6DCF-48A9-8F3C-44D2D2E33AD5}" dt="2021-11-08T11:26:40.081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4787CFAB-6DCF-48A9-8F3C-44D2D2E33AD5}" dt="2021-11-08T11:26:40.081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4787CFAB-6DCF-48A9-8F3C-44D2D2E33AD5}" dt="2021-11-08T11:26:49.223" v="1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DD55CBD8-85AA-4A6A-8CF4-D1D5DBD71FF6}"/>
    <pc:docChg chg="modSld">
      <pc:chgData name="Meyer Raphael (PAR-ES)" userId="79615dfe-ed48-4e74-a40f-4f7b034c1c27" providerId="ADAL" clId="{DD55CBD8-85AA-4A6A-8CF4-D1D5DBD71FF6}" dt="2021-11-08T12:09:31.403" v="8" actId="20577"/>
      <pc:docMkLst>
        <pc:docMk/>
      </pc:docMkLst>
      <pc:sldChg chg="addSp modSp mod">
        <pc:chgData name="Meyer Raphael (PAR-ES)" userId="79615dfe-ed48-4e74-a40f-4f7b034c1c27" providerId="ADAL" clId="{DD55CBD8-85AA-4A6A-8CF4-D1D5DBD71FF6}" dt="2021-11-08T12:09:31.403" v="8" actId="20577"/>
        <pc:sldMkLst>
          <pc:docMk/>
          <pc:sldMk cId="1963209825" sldId="272"/>
        </pc:sldMkLst>
        <pc:spChg chg="add mod">
          <ac:chgData name="Meyer Raphael (PAR-ES)" userId="79615dfe-ed48-4e74-a40f-4f7b034c1c27" providerId="ADAL" clId="{DD55CBD8-85AA-4A6A-8CF4-D1D5DBD71FF6}" dt="2021-11-08T12:09:31.403" v="8" actId="20577"/>
          <ac:spMkLst>
            <pc:docMk/>
            <pc:sldMk cId="1963209825" sldId="272"/>
            <ac:spMk id="8" creationId="{372D1D2E-5445-489E-A3F2-D49DFC8BE2C6}"/>
          </ac:spMkLst>
        </pc:sp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42205941-6AFD-4670-89C5-4EB2B3F52E62}"/>
    <pc:docChg chg="modSld">
      <pc:chgData name="Weigel Stefan (PAR-EPS)" userId="fd3b2067-2981-4ad8-bf3a-d2e1004e4fa8" providerId="ADAL" clId="{42205941-6AFD-4670-89C5-4EB2B3F52E62}" dt="2024-02-02T08:59:27.130" v="4" actId="27918"/>
      <pc:docMkLst>
        <pc:docMk/>
      </pc:docMkLst>
      <pc:sldChg chg="mod">
        <pc:chgData name="Weigel Stefan (PAR-EPS)" userId="fd3b2067-2981-4ad8-bf3a-d2e1004e4fa8" providerId="ADAL" clId="{42205941-6AFD-4670-89C5-4EB2B3F52E62}" dt="2024-02-02T08:59:27.130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PS)" userId="fd3b2067-2981-4ad8-bf3a-d2e1004e4fa8" providerId="ADAL" clId="{DF6D55B5-4594-486A-8144-69BD95F28394}"/>
    <pc:docChg chg="modSld">
      <pc:chgData name="Weigel Stefan (PAR-EPS)" userId="fd3b2067-2981-4ad8-bf3a-d2e1004e4fa8" providerId="ADAL" clId="{DF6D55B5-4594-486A-8144-69BD95F28394}" dt="2024-11-01T10:39:16.344" v="11" actId="20577"/>
      <pc:docMkLst>
        <pc:docMk/>
      </pc:docMkLst>
      <pc:sldChg chg="modSp mod">
        <pc:chgData name="Weigel Stefan (PAR-EPS)" userId="fd3b2067-2981-4ad8-bf3a-d2e1004e4fa8" providerId="ADAL" clId="{DF6D55B5-4594-486A-8144-69BD95F28394}" dt="2024-11-01T10:39:16.344" v="11" actId="20577"/>
        <pc:sldMkLst>
          <pc:docMk/>
          <pc:sldMk cId="2641487227" sldId="271"/>
        </pc:sldMkLst>
        <pc:spChg chg="mod">
          <ac:chgData name="Weigel Stefan (PAR-EPS)" userId="fd3b2067-2981-4ad8-bf3a-d2e1004e4fa8" providerId="ADAL" clId="{DF6D55B5-4594-486A-8144-69BD95F28394}" dt="2024-11-01T10:39:16.344" v="11" actId="20577"/>
          <ac:spMkLst>
            <pc:docMk/>
            <pc:sldMk cId="2641487227" sldId="271"/>
            <ac:spMk id="6" creationId="{0148E78D-7FBB-46BC-A7E3-0EFE6D9E4679}"/>
          </ac:spMkLst>
        </pc:sp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60C3455-9DEE-440B-AD78-FD5FC2D75134}"/>
    <pc:docChg chg="modSld">
      <pc:chgData name="Weigel Stefan (PAR-EPS)" userId="fd3b2067-2981-4ad8-bf3a-d2e1004e4fa8" providerId="ADAL" clId="{F60C3455-9DEE-440B-AD78-FD5FC2D75134}" dt="2023-11-21T15:04:48.232" v="46" actId="20577"/>
      <pc:docMkLst>
        <pc:docMk/>
      </pc:docMkLst>
      <pc:sldChg chg="modSp mod">
        <pc:chgData name="Weigel Stefan (PAR-EPS)" userId="fd3b2067-2981-4ad8-bf3a-d2e1004e4fa8" providerId="ADAL" clId="{F60C3455-9DEE-440B-AD78-FD5FC2D75134}" dt="2023-11-21T15:04:48.232" v="46" actId="20577"/>
        <pc:sldMkLst>
          <pc:docMk/>
          <pc:sldMk cId="2641487227" sldId="271"/>
        </pc:sldMkLst>
        <pc:spChg chg="mod">
          <ac:chgData name="Weigel Stefan (PAR-EPS)" userId="fd3b2067-2981-4ad8-bf3a-d2e1004e4fa8" providerId="ADAL" clId="{F60C3455-9DEE-440B-AD78-FD5FC2D75134}" dt="2023-11-21T15:04:48.232" v="46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F60C3455-9DEE-440B-AD78-FD5FC2D75134}" dt="2023-11-21T08:46:12.989" v="7" actId="6549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AFE0635-1FCF-4755-A385-592304F42C7B}"/>
    <pc:docChg chg="custSel modSld">
      <pc:chgData name="Weigel Stefan (PAR-EPS)" userId="fd3b2067-2981-4ad8-bf3a-d2e1004e4fa8" providerId="ADAL" clId="{9AFE0635-1FCF-4755-A385-592304F42C7B}" dt="2024-04-25T07:22:08.073" v="34" actId="207"/>
      <pc:docMkLst>
        <pc:docMk/>
      </pc:docMkLst>
      <pc:sldChg chg="modSp mod">
        <pc:chgData name="Weigel Stefan (PAR-EPS)" userId="fd3b2067-2981-4ad8-bf3a-d2e1004e4fa8" providerId="ADAL" clId="{9AFE0635-1FCF-4755-A385-592304F42C7B}" dt="2024-04-25T07:22:08.073" v="34" actId="207"/>
        <pc:sldMkLst>
          <pc:docMk/>
          <pc:sldMk cId="2641487227" sldId="271"/>
        </pc:sldMkLst>
        <pc:spChg chg="mod">
          <ac:chgData name="Weigel Stefan (PAR-EPS)" userId="fd3b2067-2981-4ad8-bf3a-d2e1004e4fa8" providerId="ADAL" clId="{9AFE0635-1FCF-4755-A385-592304F42C7B}" dt="2024-04-25T07:20:37.568" v="1" actId="6549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9AFE0635-1FCF-4755-A385-592304F42C7B}" dt="2024-04-25T07:21:55.309" v="30" actId="207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9AFE0635-1FCF-4755-A385-592304F42C7B}" dt="2024-04-25T07:22:08.073" v="34" actId="20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9AFE0635-1FCF-4755-A385-592304F42C7B}" dt="2024-04-25T07:21:39.513" v="12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9940708223574681E-2"/>
          <c:w val="0.77970737914140231"/>
          <c:h val="0.8170953988520648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7964-4B4D-BCAF-3A8041027898}"/>
              </c:ext>
            </c:extLst>
          </c:dPt>
          <c:cat>
            <c:strRef>
              <c:f>data!$G$3:$G$18</c:f>
              <c:strCache>
                <c:ptCount val="16"/>
                <c:pt idx="0">
                  <c:v>Roumanie</c:v>
                </c:pt>
                <c:pt idx="1">
                  <c:v>Norvège</c:v>
                </c:pt>
                <c:pt idx="2">
                  <c:v>Pologne</c:v>
                </c:pt>
                <c:pt idx="3">
                  <c:v>Espagne</c:v>
                </c:pt>
                <c:pt idx="4">
                  <c:v>Grande-Bretagne</c:v>
                </c:pt>
                <c:pt idx="5">
                  <c:v>Belgique</c:v>
                </c:pt>
                <c:pt idx="6">
                  <c:v>Tchéquie</c:v>
                </c:pt>
                <c:pt idx="7">
                  <c:v>Finlande</c:v>
                </c:pt>
                <c:pt idx="8">
                  <c:v>Italie</c:v>
                </c:pt>
                <c:pt idx="9">
                  <c:v>Danemark</c:v>
                </c:pt>
                <c:pt idx="10">
                  <c:v>Pays-Bas</c:v>
                </c:pt>
                <c:pt idx="11">
                  <c:v>Allemagne</c:v>
                </c:pt>
                <c:pt idx="12">
                  <c:v>Suède</c:v>
                </c:pt>
                <c:pt idx="13">
                  <c:v>France</c:v>
                </c:pt>
                <c:pt idx="14">
                  <c:v>Autriche</c:v>
                </c:pt>
                <c:pt idx="15">
                  <c:v>Suisse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322.64309898093398</c:v>
                </c:pt>
                <c:pt idx="1">
                  <c:v>632.94982183534501</c:v>
                </c:pt>
                <c:pt idx="2">
                  <c:v>704.26861986452002</c:v>
                </c:pt>
                <c:pt idx="3">
                  <c:v>712.43928621285602</c:v>
                </c:pt>
                <c:pt idx="4">
                  <c:v>880.24432848774404</c:v>
                </c:pt>
                <c:pt idx="5">
                  <c:v>882.43380330828597</c:v>
                </c:pt>
                <c:pt idx="6">
                  <c:v>917.01752800660199</c:v>
                </c:pt>
                <c:pt idx="7">
                  <c:v>927.75486000609203</c:v>
                </c:pt>
                <c:pt idx="8">
                  <c:v>928.82239590475297</c:v>
                </c:pt>
                <c:pt idx="9">
                  <c:v>1011.70073586928</c:v>
                </c:pt>
                <c:pt idx="10">
                  <c:v>1069.77997253739</c:v>
                </c:pt>
                <c:pt idx="11">
                  <c:v>1215.2675414943999</c:v>
                </c:pt>
                <c:pt idx="12">
                  <c:v>1261.2177347229201</c:v>
                </c:pt>
                <c:pt idx="13">
                  <c:v>1481.18482564186</c:v>
                </c:pt>
                <c:pt idx="14">
                  <c:v>1576.08844001638</c:v>
                </c:pt>
                <c:pt idx="15">
                  <c:v>2465.51647174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Roumanie</c:v>
                      </c:pt>
                      <c:pt idx="1">
                        <c:v>Norvège</c:v>
                      </c:pt>
                      <c:pt idx="2">
                        <c:v>Pologne</c:v>
                      </c:pt>
                      <c:pt idx="3">
                        <c:v>Espagne</c:v>
                      </c:pt>
                      <c:pt idx="4">
                        <c:v>Grande-Bretagne</c:v>
                      </c:pt>
                      <c:pt idx="5">
                        <c:v>Belgique</c:v>
                      </c:pt>
                      <c:pt idx="6">
                        <c:v>Tchéquie</c:v>
                      </c:pt>
                      <c:pt idx="7">
                        <c:v>Finlande</c:v>
                      </c:pt>
                      <c:pt idx="8">
                        <c:v>Italie</c:v>
                      </c:pt>
                      <c:pt idx="9">
                        <c:v>Danemark</c:v>
                      </c:pt>
                      <c:pt idx="10">
                        <c:v>Pays-Bas</c:v>
                      </c:pt>
                      <c:pt idx="11">
                        <c:v>Allemagne</c:v>
                      </c:pt>
                      <c:pt idx="12">
                        <c:v>Suède</c:v>
                      </c:pt>
                      <c:pt idx="13">
                        <c:v>France</c:v>
                      </c:pt>
                      <c:pt idx="14">
                        <c:v>Autriche</c:v>
                      </c:pt>
                      <c:pt idx="15">
                        <c:v>Suiss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305.55380514855602</c:v>
                      </c:pt>
                      <c:pt idx="1">
                        <c:v>692.11823577850703</c:v>
                      </c:pt>
                      <c:pt idx="2">
                        <c:v>581.06116796350796</c:v>
                      </c:pt>
                      <c:pt idx="3">
                        <c:v>609.64050716375698</c:v>
                      </c:pt>
                      <c:pt idx="4">
                        <c:v>1069.8058530491301</c:v>
                      </c:pt>
                      <c:pt idx="5">
                        <c:v>941.55404584445705</c:v>
                      </c:pt>
                      <c:pt idx="6">
                        <c:v>1015.15447207993</c:v>
                      </c:pt>
                      <c:pt idx="7">
                        <c:v>891.17462027346198</c:v>
                      </c:pt>
                      <c:pt idx="8">
                        <c:v>948.769085036913</c:v>
                      </c:pt>
                      <c:pt idx="9">
                        <c:v>1060.3213628993699</c:v>
                      </c:pt>
                      <c:pt idx="10">
                        <c:v>1114.4567152766999</c:v>
                      </c:pt>
                      <c:pt idx="11">
                        <c:v>1205.43422716332</c:v>
                      </c:pt>
                      <c:pt idx="12">
                        <c:v>1415.3351764869799</c:v>
                      </c:pt>
                      <c:pt idx="13">
                        <c:v>1385.7853934715899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0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1.11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Demande de transport de voyageurs en Europe.</a:t>
            </a: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09325635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de kilomètres parcourus en train par habitant </a:t>
            </a:r>
            <a:r>
              <a:rPr kumimoji="0" lang="fr-FR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n 2023.</a:t>
            </a:r>
            <a:endParaRPr kumimoji="0" lang="fr-FR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kern="0" dirty="0">
                <a:solidFill>
                  <a:schemeClr val="tx2"/>
                </a:solidFill>
                <a:latin typeface="+mj-lt"/>
              </a:rPr>
              <a:t>Sources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Eurostat, OECD, ORR, ON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28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219AEE-B53F-41E3-AF98-72A4852656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emande de transport de voyageurs en Europ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mande de transport de voyageurs en Europe.</dc:title>
  <dc:creator>Meyer Raphael (KOM-PGA-VSF)</dc:creator>
  <cp:lastModifiedBy>Stefan Weigel (PAR-EPS)</cp:lastModifiedBy>
  <cp:revision>17</cp:revision>
  <dcterms:created xsi:type="dcterms:W3CDTF">2020-09-30T11:00:09Z</dcterms:created>
  <dcterms:modified xsi:type="dcterms:W3CDTF">2024-11-01T10:4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